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94" r:id="rId2"/>
    <p:sldId id="306" r:id="rId3"/>
    <p:sldId id="821" r:id="rId4"/>
    <p:sldId id="822" r:id="rId5"/>
    <p:sldId id="302" r:id="rId6"/>
    <p:sldId id="304" r:id="rId7"/>
    <p:sldId id="303" r:id="rId8"/>
    <p:sldId id="305" r:id="rId9"/>
    <p:sldId id="275" r:id="rId10"/>
    <p:sldId id="824" r:id="rId11"/>
    <p:sldId id="825" r:id="rId12"/>
    <p:sldId id="826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88" d="100"/>
          <a:sy n="88" d="100"/>
        </p:scale>
        <p:origin x="-161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5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5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звание образовательной организации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БОУ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Гимназия № 10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ипова Инна Владимиро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изучения личностных образовательных результатов обучающихся начальной школы МБОУ «Гимназия № 10 г. 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043608" y="806745"/>
            <a:ext cx="74888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граммное средство 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для автоматической обработки полученных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зультатов 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диагностики 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/>
          <a:srcRect l="17639" t="21224" r="23001" b="4884"/>
          <a:stretch/>
        </p:blipFill>
        <p:spPr>
          <a:xfrm>
            <a:off x="956732" y="1614260"/>
            <a:ext cx="7287675" cy="4562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61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043608" y="806745"/>
            <a:ext cx="74888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Индивидуальный профиль обучающегося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4202" t="20081" r="51421" b="3140"/>
          <a:stretch/>
        </p:blipFill>
        <p:spPr>
          <a:xfrm>
            <a:off x="1161762" y="1333962"/>
            <a:ext cx="6114321" cy="498655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835696" y="1772816"/>
            <a:ext cx="1152128" cy="1440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48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043608" y="806745"/>
            <a:ext cx="74888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филь класс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/>
          <a:srcRect l="2572" t="25912" r="53952" b="2341"/>
          <a:stretch/>
        </p:blipFill>
        <p:spPr>
          <a:xfrm>
            <a:off x="1907704" y="1631312"/>
            <a:ext cx="5544616" cy="4573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809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8" y="495300"/>
            <a:ext cx="9039225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dirty="0"/>
              <a:t>Руководитель проекта </a:t>
            </a:r>
            <a:r>
              <a:rPr lang="ru-RU" sz="2800" dirty="0" smtClean="0"/>
              <a:t>– </a:t>
            </a:r>
            <a:r>
              <a:rPr lang="ru-RU" sz="2800" dirty="0" err="1" smtClean="0"/>
              <a:t>Клавдиенко</a:t>
            </a:r>
            <a:r>
              <a:rPr lang="ru-RU" sz="2800" dirty="0" smtClean="0"/>
              <a:t> З. М., педагог-психолог</a:t>
            </a:r>
          </a:p>
          <a:p>
            <a:pPr marL="0" indent="0">
              <a:buNone/>
            </a:pPr>
            <a:r>
              <a:rPr lang="ru-RU" sz="2800" dirty="0"/>
              <a:t>Команда проекта:</a:t>
            </a:r>
          </a:p>
          <a:p>
            <a:r>
              <a:rPr lang="ru-RU" sz="2800" dirty="0" smtClean="0"/>
              <a:t>Ушакова Е. Е., заместитель директора по ВР;</a:t>
            </a:r>
          </a:p>
          <a:p>
            <a:r>
              <a:rPr lang="ru-RU" sz="2800" dirty="0" err="1" smtClean="0"/>
              <a:t>Фольмер</a:t>
            </a:r>
            <a:r>
              <a:rPr lang="ru-RU" sz="2800" dirty="0" smtClean="0"/>
              <a:t> А. А., социальный педагог.</a:t>
            </a:r>
          </a:p>
          <a:p>
            <a:endParaRPr lang="ru-RU" sz="2800" dirty="0"/>
          </a:p>
          <a:p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597806" y="1440568"/>
            <a:ext cx="1351892" cy="126222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 descr="https://sun9-42.userapi.com/impg/n-jp74kS7p5VPeUTUNeRtgIwXqoI7y7VBbxGWQ/Rkz_Y5ZRGJo.jpg?size=684x1024&amp;quality=96&amp;sign=d0645bd9d49080b3034e324a284c2d2b&amp;type=album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9" t="6832" r="4543" b="31500"/>
          <a:stretch/>
        </p:blipFill>
        <p:spPr bwMode="auto">
          <a:xfrm>
            <a:off x="7569761" y="1376448"/>
            <a:ext cx="1421874" cy="142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sun9-67.userapi.com/impg/jRzNJNOdk53rj_5nZlBOHOdyu-zqjQyKQsbwqA/yczh7-w_W5Q.jpg?size=1600x1600&amp;quality=96&amp;sign=80ccf8a53f40fcaf8fc13286cde85a89&amp;type=album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49" t="21951" r="38206" b="58837"/>
          <a:stretch/>
        </p:blipFill>
        <p:spPr bwMode="auto">
          <a:xfrm>
            <a:off x="1927424" y="4121407"/>
            <a:ext cx="1686982" cy="1847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sun3-20.userapi.com/impg/H7TUSs2oIlCzH_-2c214rdh0iAoVfWfXBRp4UQ/Z6YqYWmmPks.jpg?size=720x1080&amp;quality=96&amp;sign=5e636acb647844d00cbb68719da5541c&amp;type=album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73" t="10389" r="27275" b="56134"/>
          <a:stretch/>
        </p:blipFill>
        <p:spPr bwMode="auto">
          <a:xfrm>
            <a:off x="3851920" y="4121407"/>
            <a:ext cx="1719885" cy="1847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56886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иказ об открытии проекта за подписью руководителя ОО 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37196" t="14565" r="17073" b="16466"/>
          <a:stretch/>
        </p:blipFill>
        <p:spPr>
          <a:xfrm>
            <a:off x="1547664" y="846446"/>
            <a:ext cx="5832648" cy="528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изучения личностных образовательных результатов обучающихся начальной школы МБОУ «Гимназия № 10 г. Челябинска»</a:t>
            </a:r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472" t="17802" r="6230" b="21386"/>
          <a:stretch/>
        </p:blipFill>
        <p:spPr>
          <a:xfrm>
            <a:off x="0" y="1607884"/>
            <a:ext cx="9091387" cy="484545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4231725"/>
              </p:ext>
            </p:extLst>
          </p:nvPr>
        </p:nvGraphicFramePr>
        <p:xfrm>
          <a:off x="361949" y="1071919"/>
          <a:ext cx="7954467" cy="5052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157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2433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8487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Временные затраты на поиск диагностического инструментария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в открытом доступе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банка диагностического инструментари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1533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Временные затраты на сбор заполненных родителями бланк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заимодействие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одителей и классных руководителей затруднено: занятость родителей либо их нежелание идти на контакт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жедневное напоминание родителям о сдаче диагностических бланков через родительские чаты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248961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Временные затраты на заполнение классными руководителями бланк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ость и объем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аботы классных руководителей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работы с классными руководителями в формате проектной сессии (рабочее время в каникулярный период)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18897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Временные затраты на обработку результатов диагностик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и сложность диагностических материалов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программного средства для автоматической обработки полученных результатов диагностики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895468" y="610253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3789040"/>
            <a:ext cx="3865563" cy="222203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поиск диагностического инструментария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сбор заполненных родителями бланков 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заполнение классными руководителями бланков.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обработку результатов диагностик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92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44466" y="706783"/>
            <a:ext cx="8893621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изучения личностных образовательных результатов обучающихся начальной школы МБОУ «Гимназия № 10 г. Челябинска»</a:t>
            </a: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t="18768" r="58867" b="8321"/>
          <a:stretch/>
        </p:blipFill>
        <p:spPr>
          <a:xfrm>
            <a:off x="539552" y="1700808"/>
            <a:ext cx="7665137" cy="4728567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227941"/>
              </p:ext>
            </p:extLst>
          </p:nvPr>
        </p:nvGraphicFramePr>
        <p:xfrm>
          <a:off x="361949" y="1130849"/>
          <a:ext cx="8640761" cy="56654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0373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9847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затраты на поиск диагностического инструментария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бор методик с использованием: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Библиотек электронных книг: koob.ru; bookap.info; «Библиотека Мошкова»;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Электронных собраний статей: https://cyberleninka.ru/ научная электронная библиотека статей; psy.rin.ru;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Сайты факультетов психологии МГУ, СПбГУ,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УрГГПУ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Интернет-ресурсы психологической тематики.</a:t>
                      </a: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вдиенко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. М., педагог-психолог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банка диагностического инструментария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65894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на сбор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полненных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одителями бланков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жедневное напоминание родителям о сдаче диагностических бланков через родительские чаты</a:t>
                      </a: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kumimoji="0" lang="ru-RU" alt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де</a:t>
                      </a:r>
                      <a:r>
                        <a:rPr kumimoji="0" lang="ru-RU" alt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ля</a:t>
                      </a: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полненные бланки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и 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сбор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полненных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одителями бланков </a:t>
                      </a:r>
                      <a:endParaRPr lang="ru-RU" altLang="ru-RU" sz="12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8907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полнение класс-</a:t>
                      </a:r>
                      <a:r>
                        <a:rPr lang="ru-RU" altLang="ru-RU" sz="1200" b="1" kern="12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ыми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уководите-</a:t>
                      </a:r>
                      <a:r>
                        <a:rPr lang="ru-RU" altLang="ru-RU" sz="1200" b="1" kern="12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ями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бланков</a:t>
                      </a:r>
                      <a:endParaRPr lang="ru-RU" altLang="ru-RU" sz="12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работы с классными руководителями в формате проектной сессии (рабочее время в каникулярный период)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день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енные бланк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0395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работку </a:t>
                      </a:r>
                      <a:r>
                        <a:rPr lang="ru-RU" altLang="ru-RU" sz="1200" b="1" kern="12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зуль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татов  диагностики</a:t>
                      </a:r>
                      <a:endParaRPr lang="ru-RU" altLang="ru-RU" sz="12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программного средства для автоматической обработки полученных результатов диагностики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вдиенко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. М., педагог-психолог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дн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ботка и анализ результатов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8" y="66918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1</TotalTime>
  <Words>547</Words>
  <Application>Microsoft Office PowerPoint</Application>
  <PresentationFormat>Экран (4:3)</PresentationFormat>
  <Paragraphs>111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Psyholog</cp:lastModifiedBy>
  <cp:revision>158</cp:revision>
  <cp:lastPrinted>2019-04-25T09:14:46Z</cp:lastPrinted>
  <dcterms:created xsi:type="dcterms:W3CDTF">2018-08-20T14:01:12Z</dcterms:created>
  <dcterms:modified xsi:type="dcterms:W3CDTF">2023-06-15T07:30:07Z</dcterms:modified>
</cp:coreProperties>
</file>